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6" r:id="rId2"/>
    <p:sldId id="283" r:id="rId3"/>
    <p:sldId id="280" r:id="rId4"/>
    <p:sldId id="282" r:id="rId5"/>
    <p:sldId id="257" r:id="rId6"/>
    <p:sldId id="270" r:id="rId7"/>
    <p:sldId id="272" r:id="rId8"/>
    <p:sldId id="279" r:id="rId9"/>
    <p:sldId id="281" r:id="rId10"/>
    <p:sldId id="258" r:id="rId11"/>
  </p:sldIdLst>
  <p:sldSz cx="12192000" cy="6858000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77349"/>
    <a:srgbClr val="379F84"/>
    <a:srgbClr val="16477C"/>
    <a:srgbClr val="EF7F1B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-336" y="-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15F313-0436-45AB-85E4-DB691240B249}" type="datetimeFigureOut">
              <a:rPr lang="ru-RU" smtClean="0"/>
              <a:pPr/>
              <a:t>09.10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1DB485-1FD4-4A62-9CFD-A70CC81EEE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05766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D334EB-FDB7-4083-AFFF-E28169A651ED}" type="datetimeFigureOut">
              <a:rPr lang="ru-RU" smtClean="0"/>
              <a:pPr/>
              <a:t>09.10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8C8425-8C98-49D4-BEDD-F3EE5D4E9C5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F03E75-03CC-4631-B530-28E67D1CF697}" type="datetime1">
              <a:rPr lang="ru-RU" smtClean="0"/>
              <a:pPr/>
              <a:t>09.10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D813F-403D-4D48-BD60-BAAB60DBE3F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1099898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4B3B8-121A-40B6-A250-DEE783F416AD}" type="datetime1">
              <a:rPr lang="ru-RU" smtClean="0"/>
              <a:pPr/>
              <a:t>09.10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D813F-403D-4D48-BD60-BAAB60DBE3F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6254433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443D03-ACF8-4B5E-9871-5B6EE5A419F7}" type="datetime1">
              <a:rPr lang="ru-RU" smtClean="0"/>
              <a:pPr/>
              <a:t>09.10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D813F-403D-4D48-BD60-BAAB60DBE3F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7092356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CE538A-B330-4B06-AB42-99C037AB9633}" type="datetime1">
              <a:rPr lang="ru-RU" smtClean="0"/>
              <a:pPr/>
              <a:t>09.10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D813F-403D-4D48-BD60-BAAB60DBE3F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5544213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35A2BA-4A26-44A9-AFAF-4A97FADA903F}" type="datetime1">
              <a:rPr lang="ru-RU" smtClean="0"/>
              <a:pPr/>
              <a:t>09.10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D813F-403D-4D48-BD60-BAAB60DBE3F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92264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4D96C-2D81-421C-ACA2-EE3C190963E4}" type="datetime1">
              <a:rPr lang="ru-RU" smtClean="0"/>
              <a:pPr/>
              <a:t>09.10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D813F-403D-4D48-BD60-BAAB60DBE3F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666074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A70FA1-3CF9-4C73-8057-60C77099C739}" type="datetime1">
              <a:rPr lang="ru-RU" smtClean="0"/>
              <a:pPr/>
              <a:t>09.10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D813F-403D-4D48-BD60-BAAB60DBE3F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0440206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E72CD-F7A2-4009-B210-935A8835A35A}" type="datetime1">
              <a:rPr lang="ru-RU" smtClean="0"/>
              <a:pPr/>
              <a:t>09.10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D813F-403D-4D48-BD60-BAAB60DBE3F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7055939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2DBE22-8ACD-42C5-9FAC-820DF03DC420}" type="datetime1">
              <a:rPr lang="ru-RU" smtClean="0"/>
              <a:pPr/>
              <a:t>09.10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D813F-403D-4D48-BD60-BAAB60DBE3F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7839978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470C13-6794-46BE-963D-2B9D784EA0D0}" type="datetime1">
              <a:rPr lang="ru-RU" smtClean="0"/>
              <a:pPr/>
              <a:t>09.10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D813F-403D-4D48-BD60-BAAB60DBE3F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7036118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CD5AE-EC82-42BB-9D3C-2B465C82923B}" type="datetime1">
              <a:rPr lang="ru-RU" smtClean="0"/>
              <a:pPr/>
              <a:t>09.10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D813F-403D-4D48-BD60-BAAB60DBE3F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7724136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4F3C7E-F52E-4BD9-8B6D-5D65638ACC59}" type="datetime1">
              <a:rPr lang="ru-RU" smtClean="0"/>
              <a:pPr/>
              <a:t>09.10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BD813F-403D-4D48-BD60-BAAB60DBE3F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47785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12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111433" y="2868328"/>
            <a:ext cx="9942021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spc="-1" dirty="0" smtClean="0">
                <a:solidFill>
                  <a:srgbClr val="EF7F1B"/>
                </a:solidFill>
              </a:rPr>
              <a:t>Методические рекомендации </a:t>
            </a:r>
          </a:p>
          <a:p>
            <a:pPr algn="ctr"/>
            <a:r>
              <a:rPr lang="ru-RU" sz="2800" b="1" spc="-1" dirty="0" smtClean="0">
                <a:solidFill>
                  <a:srgbClr val="EF7F1B"/>
                </a:solidFill>
              </a:rPr>
              <a:t>по выставлению сведений на выплату стимулирующего характера  медицинским работникам, за выявление онкологических заболеваний в ходе проведения диспансеризации и профилактических медицинских осмотров</a:t>
            </a:r>
          </a:p>
          <a:p>
            <a:pPr algn="ctr"/>
            <a:endParaRPr lang="ru-RU" sz="2800" b="1" spc="-1" dirty="0" smtClean="0">
              <a:solidFill>
                <a:srgbClr val="EF7F1B"/>
              </a:solidFill>
              <a:latin typeface="AGOpus" pitchFamily="2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D813F-403D-4D48-BD60-BAAB60DBE3F5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454252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291914" y="2205832"/>
            <a:ext cx="641727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-RU" sz="4800" b="1" dirty="0" smtClean="0">
                <a:solidFill>
                  <a:srgbClr val="EF7F1B"/>
                </a:solidFill>
                <a:latin typeface="AGOpus" pitchFamily="2" charset="0"/>
              </a:rPr>
              <a:t>Спасибо за внимание</a:t>
            </a:r>
          </a:p>
          <a:p>
            <a:pPr algn="ctr">
              <a:lnSpc>
                <a:spcPct val="100000"/>
              </a:lnSpc>
              <a:tabLst>
                <a:tab pos="0" algn="l"/>
              </a:tabLst>
            </a:pPr>
            <a:endParaRPr lang="ru-RU" sz="4800" b="1" dirty="0" smtClean="0">
              <a:solidFill>
                <a:srgbClr val="EF7F1B"/>
              </a:solidFill>
              <a:latin typeface="AGOpus" pitchFamily="2" charset="0"/>
            </a:endParaRPr>
          </a:p>
          <a:p>
            <a:pPr algn="ctr">
              <a:lnSpc>
                <a:spcPct val="100000"/>
              </a:lnSpc>
              <a:tabLst>
                <a:tab pos="0" algn="l"/>
              </a:tabLst>
            </a:pPr>
            <a:endParaRPr lang="ru-RU" sz="4800" b="1" dirty="0" smtClean="0">
              <a:solidFill>
                <a:srgbClr val="EF7F1B"/>
              </a:solidFill>
              <a:latin typeface="AGOpus" pitchFamily="2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D813F-403D-4D48-BD60-BAAB60DBE3F5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805228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D813F-403D-4D48-BD60-BAAB60DBE3F5}" type="slidenum">
              <a:rPr lang="ru-RU" smtClean="0"/>
              <a:pPr/>
              <a:t>2</a:t>
            </a:fld>
            <a:endParaRPr lang="ru-RU"/>
          </a:p>
        </p:txBody>
      </p:sp>
      <p:sp>
        <p:nvSpPr>
          <p:cNvPr id="9" name="TextBox 8"/>
          <p:cNvSpPr txBox="1"/>
          <p:nvPr/>
        </p:nvSpPr>
        <p:spPr>
          <a:xfrm>
            <a:off x="164757" y="345988"/>
            <a:ext cx="71257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16477C"/>
                </a:solidFill>
                <a:latin typeface="AGOpus" pitchFamily="2" charset="0"/>
              </a:rPr>
              <a:t>Оглавление</a:t>
            </a:r>
          </a:p>
        </p:txBody>
      </p:sp>
      <p:pic>
        <p:nvPicPr>
          <p:cNvPr id="3084" name="Picture 12" descr="Вкладк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91827" y="1924413"/>
            <a:ext cx="791775" cy="791776"/>
          </a:xfrm>
          <a:prstGeom prst="rect">
            <a:avLst/>
          </a:prstGeom>
          <a:noFill/>
        </p:spPr>
      </p:pic>
      <p:pic>
        <p:nvPicPr>
          <p:cNvPr id="3086" name="Picture 14" descr="Ипотека 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32502" y="4670853"/>
            <a:ext cx="970221" cy="970222"/>
          </a:xfrm>
          <a:prstGeom prst="rect">
            <a:avLst/>
          </a:prstGeom>
          <a:noFill/>
        </p:spPr>
      </p:pic>
      <p:pic>
        <p:nvPicPr>
          <p:cNvPr id="3088" name="Picture 16" descr="Отправить сообщение 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964289" y="1957969"/>
            <a:ext cx="841203" cy="841204"/>
          </a:xfrm>
          <a:prstGeom prst="rect">
            <a:avLst/>
          </a:prstGeom>
          <a:noFill/>
        </p:spPr>
      </p:pic>
      <p:pic>
        <p:nvPicPr>
          <p:cNvPr id="3090" name="Picture 18" descr="Подпись 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956050" y="4832975"/>
            <a:ext cx="834809" cy="834810"/>
          </a:xfrm>
          <a:prstGeom prst="rect">
            <a:avLst/>
          </a:prstGeom>
          <a:noFill/>
        </p:spPr>
      </p:pic>
      <p:pic>
        <p:nvPicPr>
          <p:cNvPr id="3092" name="Picture 20" descr="Настройки 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12095" y="1916628"/>
            <a:ext cx="775301" cy="775302"/>
          </a:xfrm>
          <a:prstGeom prst="rect">
            <a:avLst/>
          </a:prstGeom>
          <a:noFill/>
        </p:spPr>
      </p:pic>
      <p:pic>
        <p:nvPicPr>
          <p:cNvPr id="19" name="Picture 12" descr="Вкладк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37136" y="3394868"/>
            <a:ext cx="771181" cy="771182"/>
          </a:xfrm>
          <a:prstGeom prst="rect">
            <a:avLst/>
          </a:prstGeom>
          <a:noFill/>
        </p:spPr>
      </p:pic>
      <p:pic>
        <p:nvPicPr>
          <p:cNvPr id="20" name="Picture 12" descr="Вкладк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16542" y="4815895"/>
            <a:ext cx="791776" cy="791777"/>
          </a:xfrm>
          <a:prstGeom prst="rect">
            <a:avLst/>
          </a:prstGeom>
          <a:noFill/>
        </p:spPr>
      </p:pic>
      <p:sp>
        <p:nvSpPr>
          <p:cNvPr id="21" name="TextBox 20"/>
          <p:cNvSpPr txBox="1"/>
          <p:nvPr/>
        </p:nvSpPr>
        <p:spPr>
          <a:xfrm>
            <a:off x="4306953" y="2190812"/>
            <a:ext cx="2636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1</a:t>
            </a:r>
            <a:endParaRPr lang="ru-RU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4356381" y="3673623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/>
              <a:t>2</a:t>
            </a:r>
            <a:endParaRPr lang="ru-RU" b="1" dirty="0"/>
          </a:p>
        </p:txBody>
      </p:sp>
      <p:sp>
        <p:nvSpPr>
          <p:cNvPr id="23" name="TextBox 22"/>
          <p:cNvSpPr txBox="1"/>
          <p:nvPr/>
        </p:nvSpPr>
        <p:spPr>
          <a:xfrm>
            <a:off x="4348143" y="5131720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/>
              <a:t>3</a:t>
            </a:r>
            <a:endParaRPr lang="ru-RU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1260389" y="2075935"/>
            <a:ext cx="263738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277349"/>
                </a:solidFill>
              </a:rPr>
              <a:t>Настройка  порядка </a:t>
            </a:r>
          </a:p>
          <a:p>
            <a:r>
              <a:rPr lang="ru-RU" dirty="0" smtClean="0">
                <a:solidFill>
                  <a:srgbClr val="277349"/>
                </a:solidFill>
              </a:rPr>
              <a:t>подписания документов</a:t>
            </a:r>
            <a:endParaRPr lang="ru-RU" dirty="0">
              <a:solidFill>
                <a:srgbClr val="277349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276865" y="4950939"/>
            <a:ext cx="229748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277349"/>
                </a:solidFill>
              </a:rPr>
              <a:t>Получение сведений </a:t>
            </a:r>
          </a:p>
          <a:p>
            <a:r>
              <a:rPr lang="ru-RU" dirty="0" smtClean="0">
                <a:solidFill>
                  <a:srgbClr val="277349"/>
                </a:solidFill>
              </a:rPr>
              <a:t>из ТФОМС</a:t>
            </a:r>
            <a:endParaRPr lang="ru-RU" dirty="0">
              <a:solidFill>
                <a:srgbClr val="277349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147212" y="2141385"/>
            <a:ext cx="22230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277349"/>
                </a:solidFill>
              </a:rPr>
              <a:t>Вкладка «Сведения»</a:t>
            </a:r>
            <a:endParaRPr lang="ru-RU" dirty="0">
              <a:solidFill>
                <a:srgbClr val="277349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196640" y="3615957"/>
            <a:ext cx="30376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277349"/>
                </a:solidFill>
              </a:rPr>
              <a:t>Вкладка «Заявка п</a:t>
            </a:r>
            <a:r>
              <a:rPr lang="ru-RU" dirty="0" smtClean="0">
                <a:solidFill>
                  <a:srgbClr val="277349"/>
                </a:solidFill>
              </a:rPr>
              <a:t>..(проект)»</a:t>
            </a:r>
            <a:endParaRPr lang="ru-RU" dirty="0">
              <a:solidFill>
                <a:srgbClr val="277349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138975" y="5115245"/>
            <a:ext cx="26384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277349"/>
                </a:solidFill>
              </a:rPr>
              <a:t>Вкладка «Заявка форма»</a:t>
            </a:r>
            <a:endParaRPr lang="ru-RU" dirty="0">
              <a:solidFill>
                <a:srgbClr val="277349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906235" y="2019707"/>
            <a:ext cx="23294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277349"/>
                </a:solidFill>
              </a:rPr>
              <a:t>Отправка документов</a:t>
            </a:r>
          </a:p>
          <a:p>
            <a:r>
              <a:rPr lang="ru-RU" dirty="0" smtClean="0">
                <a:solidFill>
                  <a:srgbClr val="277349"/>
                </a:solidFill>
              </a:rPr>
              <a:t> в ТФОМС</a:t>
            </a:r>
            <a:endParaRPr lang="ru-RU" dirty="0">
              <a:solidFill>
                <a:srgbClr val="277349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8925887" y="4924338"/>
            <a:ext cx="292323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277349"/>
                </a:solidFill>
                <a:latin typeface="Times New Roman" pitchFamily="18" charset="0"/>
                <a:cs typeface="Times New Roman" pitchFamily="18" charset="0"/>
              </a:rPr>
              <a:t>Согласование и подписание</a:t>
            </a:r>
          </a:p>
          <a:p>
            <a:r>
              <a:rPr lang="ru-RU" dirty="0" smtClean="0">
                <a:solidFill>
                  <a:srgbClr val="277349"/>
                </a:solidFill>
                <a:latin typeface="Times New Roman" pitchFamily="18" charset="0"/>
                <a:cs typeface="Times New Roman" pitchFamily="18" charset="0"/>
              </a:rPr>
              <a:t>загруженного документа в </a:t>
            </a:r>
          </a:p>
          <a:p>
            <a:r>
              <a:rPr lang="ru-RU" dirty="0" smtClean="0">
                <a:solidFill>
                  <a:srgbClr val="277349"/>
                </a:solidFill>
                <a:latin typeface="Times New Roman" pitchFamily="18" charset="0"/>
                <a:cs typeface="Times New Roman" pitchFamily="18" charset="0"/>
              </a:rPr>
              <a:t>ЕИС ОМС.ЭП</a:t>
            </a:r>
          </a:p>
          <a:p>
            <a:r>
              <a:rPr lang="ru-RU" dirty="0" smtClean="0">
                <a:solidFill>
                  <a:srgbClr val="277349"/>
                </a:solidFill>
                <a:latin typeface="Times New Roman" pitchFamily="18" charset="0"/>
                <a:cs typeface="Times New Roman" pitchFamily="18" charset="0"/>
              </a:rPr>
              <a:t>со стороны МО</a:t>
            </a:r>
            <a:endParaRPr lang="ru-RU" dirty="0">
              <a:solidFill>
                <a:srgbClr val="277349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88507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D813F-403D-4D48-BD60-BAAB60DBE3F5}" type="slidenum">
              <a:rPr lang="ru-RU" smtClean="0"/>
              <a:pPr/>
              <a:t>3</a:t>
            </a:fld>
            <a:endParaRPr lang="ru-RU"/>
          </a:p>
        </p:txBody>
      </p:sp>
      <p:sp>
        <p:nvSpPr>
          <p:cNvPr id="9" name="TextBox 8"/>
          <p:cNvSpPr txBox="1"/>
          <p:nvPr/>
        </p:nvSpPr>
        <p:spPr>
          <a:xfrm>
            <a:off x="197707" y="345988"/>
            <a:ext cx="86085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16477C"/>
                </a:solidFill>
                <a:latin typeface="AGOpus" pitchFamily="2" charset="0"/>
              </a:rPr>
              <a:t>Настройка порядка подписания документа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63611" y="1375719"/>
            <a:ext cx="117718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rgbClr val="16477C"/>
                </a:solidFill>
                <a:latin typeface="AGOpus" pitchFamily="2" charset="0"/>
              </a:rPr>
              <a:t>Пользователю с правами администратора необходимо зайти в систему ЕИС ОМС.ЭП по адресу </a:t>
            </a:r>
            <a:endParaRPr lang="en-US" sz="1600" dirty="0" smtClean="0">
              <a:solidFill>
                <a:srgbClr val="16477C"/>
              </a:solidFill>
              <a:latin typeface="AGOpus" pitchFamily="2" charset="0"/>
            </a:endParaRPr>
          </a:p>
          <a:p>
            <a:r>
              <a:rPr lang="ru-RU" sz="1600" dirty="0" smtClean="0">
                <a:solidFill>
                  <a:srgbClr val="16477C"/>
                </a:solidFill>
                <a:latin typeface="AGOpus" pitchFamily="2" charset="0"/>
              </a:rPr>
              <a:t>http://10.20.31.192/eds/ </a:t>
            </a:r>
            <a:r>
              <a:rPr lang="en-US" sz="1600" dirty="0" smtClean="0">
                <a:solidFill>
                  <a:srgbClr val="16477C"/>
                </a:solidFill>
                <a:latin typeface="AGOpus" pitchFamily="2" charset="0"/>
              </a:rPr>
              <a:t> </a:t>
            </a:r>
            <a:r>
              <a:rPr lang="ru-RU" sz="1600" dirty="0" smtClean="0">
                <a:solidFill>
                  <a:srgbClr val="16477C"/>
                </a:solidFill>
                <a:latin typeface="AGOpus" pitchFamily="2" charset="0"/>
              </a:rPr>
              <a:t>и назначить для типа документа «Стимулирующие выплаты 142Н» ответственных.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2465" y="2118238"/>
            <a:ext cx="11302314" cy="3899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Скругленный прямоугольник 10"/>
          <p:cNvSpPr/>
          <p:nvPr/>
        </p:nvSpPr>
        <p:spPr>
          <a:xfrm>
            <a:off x="5292810" y="2788507"/>
            <a:ext cx="2228335" cy="358346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54226" y="3468129"/>
            <a:ext cx="527221" cy="321275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087395" y="3591697"/>
            <a:ext cx="1046205" cy="37070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7463481" y="4481385"/>
            <a:ext cx="1474573" cy="16475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7426411" y="4287796"/>
            <a:ext cx="1474573" cy="16475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Скругленный прямоугольник 17"/>
          <p:cNvSpPr/>
          <p:nvPr/>
        </p:nvSpPr>
        <p:spPr>
          <a:xfrm>
            <a:off x="7591167" y="3929448"/>
            <a:ext cx="770238" cy="234778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1664043" y="5241759"/>
            <a:ext cx="917138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dirty="0" smtClean="0">
                <a:solidFill>
                  <a:srgbClr val="FF0000"/>
                </a:solidFill>
              </a:rPr>
              <a:t>В разделе «ответственный», нажать правую кнопку мыши и добавить пользователя с правами «</a:t>
            </a:r>
            <a:r>
              <a:rPr lang="ru-RU" b="1" dirty="0" smtClean="0">
                <a:solidFill>
                  <a:srgbClr val="FF0000"/>
                </a:solidFill>
              </a:rPr>
              <a:t>Исполнитель</a:t>
            </a:r>
            <a:r>
              <a:rPr lang="ru-RU" dirty="0" smtClean="0">
                <a:solidFill>
                  <a:srgbClr val="FF0000"/>
                </a:solidFill>
              </a:rPr>
              <a:t>» и «</a:t>
            </a:r>
            <a:r>
              <a:rPr lang="ru-RU" b="1" dirty="0" smtClean="0">
                <a:solidFill>
                  <a:srgbClr val="FF0000"/>
                </a:solidFill>
              </a:rPr>
              <a:t>Руководитель</a:t>
            </a:r>
            <a:r>
              <a:rPr lang="ru-RU" dirty="0" smtClean="0">
                <a:solidFill>
                  <a:srgbClr val="FF0000"/>
                </a:solidFill>
              </a:rPr>
              <a:t>» из предложенного списка. </a:t>
            </a:r>
          </a:p>
          <a:p>
            <a:pPr lvl="0"/>
            <a:r>
              <a:rPr lang="ru-RU" dirty="0" smtClean="0">
                <a:solidFill>
                  <a:srgbClr val="FF0000"/>
                </a:solidFill>
              </a:rPr>
              <a:t>Нажать кнопку «</a:t>
            </a:r>
            <a:r>
              <a:rPr lang="ru-RU" b="1" dirty="0" smtClean="0">
                <a:solidFill>
                  <a:srgbClr val="FF0000"/>
                </a:solidFill>
              </a:rPr>
              <a:t>Сохранить</a:t>
            </a:r>
            <a:r>
              <a:rPr lang="ru-RU" dirty="0" smtClean="0">
                <a:solidFill>
                  <a:srgbClr val="FF0000"/>
                </a:solidFill>
              </a:rPr>
              <a:t>».</a:t>
            </a:r>
            <a:endParaRPr lang="ru-RU" dirty="0">
              <a:solidFill>
                <a:srgbClr val="FF0000"/>
              </a:solidFill>
            </a:endParaRPr>
          </a:p>
        </p:txBody>
      </p:sp>
      <p:cxnSp>
        <p:nvCxnSpPr>
          <p:cNvPr id="20" name="Прямая со стрелкой 19"/>
          <p:cNvCxnSpPr/>
          <p:nvPr/>
        </p:nvCxnSpPr>
        <p:spPr>
          <a:xfrm flipV="1">
            <a:off x="6063049" y="4555524"/>
            <a:ext cx="1252151" cy="708455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/>
          <p:nvPr/>
        </p:nvCxnSpPr>
        <p:spPr>
          <a:xfrm flipH="1">
            <a:off x="1849395" y="3064476"/>
            <a:ext cx="712573" cy="457203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2537255" y="2578444"/>
            <a:ext cx="1619546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Тип документа:</a:t>
            </a:r>
          </a:p>
          <a:p>
            <a:r>
              <a:rPr lang="ru-RU" sz="14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«Стимулирующие </a:t>
            </a:r>
          </a:p>
          <a:p>
            <a:r>
              <a:rPr lang="ru-RU" sz="14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выплаты 142Н»</a:t>
            </a:r>
            <a:endParaRPr lang="ru-RU" sz="14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1812324" y="2298357"/>
            <a:ext cx="93911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888507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D813F-403D-4D48-BD60-BAAB60DBE3F5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4" name="TextBox 3"/>
          <p:cNvSpPr txBox="1"/>
          <p:nvPr/>
        </p:nvSpPr>
        <p:spPr>
          <a:xfrm>
            <a:off x="259361" y="1488404"/>
            <a:ext cx="998843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0" algn="l"/>
              </a:tabLst>
            </a:pPr>
            <a:r>
              <a:rPr lang="ru-RU" sz="1600" dirty="0" smtClean="0">
                <a:solidFill>
                  <a:srgbClr val="16477C"/>
                </a:solidFill>
                <a:latin typeface="AGOpus" pitchFamily="2" charset="0"/>
              </a:rPr>
              <a:t>Документы, направленные в медицинскую организацию, будут отображаться</a:t>
            </a:r>
            <a:br>
              <a:rPr lang="ru-RU" sz="1600" dirty="0" smtClean="0">
                <a:solidFill>
                  <a:srgbClr val="16477C"/>
                </a:solidFill>
                <a:latin typeface="AGOpus" pitchFamily="2" charset="0"/>
              </a:rPr>
            </a:br>
            <a:r>
              <a:rPr lang="ru-RU" sz="1600" dirty="0" smtClean="0">
                <a:solidFill>
                  <a:srgbClr val="16477C"/>
                </a:solidFill>
                <a:latin typeface="AGOpus" pitchFamily="2" charset="0"/>
              </a:rPr>
              <a:t> в разделе «На подпись» с типом документа «</a:t>
            </a:r>
            <a:r>
              <a:rPr lang="ru-RU" sz="1600" b="1" dirty="0" err="1" smtClean="0">
                <a:solidFill>
                  <a:srgbClr val="16477C"/>
                </a:solidFill>
                <a:latin typeface="AGOpus" pitchFamily="2" charset="0"/>
              </a:rPr>
              <a:t>СведПриказ</a:t>
            </a:r>
            <a:r>
              <a:rPr lang="en-US" sz="1600" b="1" dirty="0" smtClean="0">
                <a:solidFill>
                  <a:srgbClr val="16477C"/>
                </a:solidFill>
                <a:latin typeface="AGOpus" pitchFamily="2" charset="0"/>
              </a:rPr>
              <a:t>142</a:t>
            </a:r>
            <a:r>
              <a:rPr lang="ru-RU" sz="1600" b="1" dirty="0" smtClean="0">
                <a:solidFill>
                  <a:srgbClr val="16477C"/>
                </a:solidFill>
                <a:latin typeface="AGOpus" pitchFamily="2" charset="0"/>
              </a:rPr>
              <a:t>Н</a:t>
            </a:r>
            <a:r>
              <a:rPr lang="ru-RU" sz="1600" dirty="0" smtClean="0">
                <a:solidFill>
                  <a:srgbClr val="16477C"/>
                </a:solidFill>
                <a:latin typeface="AGOpus" pitchFamily="2" charset="0"/>
              </a:rPr>
              <a:t>» 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5255" y="2352200"/>
            <a:ext cx="11304810" cy="3359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Скругленный прямоугольник 5"/>
          <p:cNvSpPr/>
          <p:nvPr/>
        </p:nvSpPr>
        <p:spPr>
          <a:xfrm>
            <a:off x="5923006" y="3921212"/>
            <a:ext cx="1153298" cy="205946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5614087" y="2821460"/>
            <a:ext cx="1379838" cy="358346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321276" y="2916194"/>
            <a:ext cx="543698" cy="321276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/>
          <p:cNvSpPr txBox="1"/>
          <p:nvPr/>
        </p:nvSpPr>
        <p:spPr>
          <a:xfrm>
            <a:off x="164757" y="345988"/>
            <a:ext cx="71257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16477C"/>
                </a:solidFill>
                <a:latin typeface="AGOpus" pitchFamily="2" charset="0"/>
              </a:rPr>
              <a:t>Получение сведений из ТФОМС</a:t>
            </a:r>
          </a:p>
        </p:txBody>
      </p:sp>
    </p:spTree>
    <p:extLst>
      <p:ext uri="{BB962C8B-B14F-4D97-AF65-F5344CB8AC3E}">
        <p14:creationId xmlns="" xmlns:p14="http://schemas.microsoft.com/office/powerpoint/2010/main" val="3888507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1232" y="271848"/>
            <a:ext cx="86873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16477C"/>
                </a:solidFill>
                <a:latin typeface="AGOpus" pitchFamily="2" charset="0"/>
              </a:rPr>
              <a:t>Вкладка «Сведения» 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D813F-403D-4D48-BD60-BAAB60DBE3F5}" type="slidenum">
              <a:rPr lang="ru-RU" smtClean="0"/>
              <a:pPr/>
              <a:t>5</a:t>
            </a:fld>
            <a:endParaRPr lang="ru-RU"/>
          </a:p>
        </p:txBody>
      </p:sp>
      <p:pic>
        <p:nvPicPr>
          <p:cNvPr id="7" name="Рисунок 6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7751" y="1458098"/>
            <a:ext cx="10602098" cy="5033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Овал 7"/>
          <p:cNvSpPr/>
          <p:nvPr/>
        </p:nvSpPr>
        <p:spPr>
          <a:xfrm>
            <a:off x="527222" y="5939480"/>
            <a:ext cx="708453" cy="36246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0" name="Прямая со стрелкой 9"/>
          <p:cNvCxnSpPr/>
          <p:nvPr/>
        </p:nvCxnSpPr>
        <p:spPr>
          <a:xfrm flipH="1" flipV="1">
            <a:off x="1202724" y="6211330"/>
            <a:ext cx="716692" cy="140043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985319" y="6277232"/>
            <a:ext cx="11299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Сведения</a:t>
            </a:r>
            <a:endParaRPr lang="ru-RU" dirty="0">
              <a:solidFill>
                <a:srgbClr val="FF0000"/>
              </a:solidFill>
            </a:endParaRPr>
          </a:p>
        </p:txBody>
      </p:sp>
      <p:cxnSp>
        <p:nvCxnSpPr>
          <p:cNvPr id="13" name="Прямая со стрелкой 12"/>
          <p:cNvCxnSpPr>
            <a:stCxn id="7" idx="3"/>
          </p:cNvCxnSpPr>
          <p:nvPr/>
        </p:nvCxnSpPr>
        <p:spPr>
          <a:xfrm flipH="1">
            <a:off x="10385268" y="3974758"/>
            <a:ext cx="554581" cy="59679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10930855" y="2522592"/>
            <a:ext cx="126114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FF0000"/>
                </a:solidFill>
              </a:rPr>
              <a:t>Заполнить Наименование МО, куда направлен пациент</a:t>
            </a:r>
          </a:p>
          <a:p>
            <a:endParaRPr lang="ru-RU" sz="1200" dirty="0" smtClean="0">
              <a:solidFill>
                <a:srgbClr val="FF000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FF0000"/>
                </a:solidFill>
              </a:rPr>
              <a:t>Изменить «нет» на «да»</a:t>
            </a:r>
          </a:p>
          <a:p>
            <a:endParaRPr lang="ru-RU" sz="1200" dirty="0" smtClean="0">
              <a:solidFill>
                <a:srgbClr val="FF000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FF0000"/>
                </a:solidFill>
              </a:rPr>
              <a:t>Заполнить дату выданного направления к онкологу</a:t>
            </a:r>
          </a:p>
          <a:p>
            <a:endParaRPr lang="ru-RU" sz="1200" dirty="0" smtClean="0">
              <a:solidFill>
                <a:srgbClr val="FF0000"/>
              </a:solidFill>
            </a:endParaRPr>
          </a:p>
          <a:p>
            <a:endParaRPr lang="ru-RU" sz="1200" dirty="0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10872132" y="2382474"/>
            <a:ext cx="1319868" cy="2724985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3" name="Group 119"/>
          <p:cNvGrpSpPr>
            <a:grpSpLocks/>
          </p:cNvGrpSpPr>
          <p:nvPr/>
        </p:nvGrpSpPr>
        <p:grpSpPr bwMode="auto">
          <a:xfrm>
            <a:off x="11449094" y="1709179"/>
            <a:ext cx="125412" cy="496888"/>
            <a:chOff x="3699" y="1224"/>
            <a:chExt cx="682" cy="2353"/>
          </a:xfrm>
          <a:solidFill>
            <a:srgbClr val="FF0000"/>
          </a:solidFill>
        </p:grpSpPr>
        <p:sp>
          <p:nvSpPr>
            <p:cNvPr id="24" name="Rectangle 120"/>
            <p:cNvSpPr>
              <a:spLocks noChangeArrowheads="1"/>
            </p:cNvSpPr>
            <p:nvPr/>
          </p:nvSpPr>
          <p:spPr bwMode="auto">
            <a:xfrm>
              <a:off x="3809" y="3119"/>
              <a:ext cx="464" cy="45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5" name="Freeform 121"/>
            <p:cNvSpPr>
              <a:spLocks/>
            </p:cNvSpPr>
            <p:nvPr/>
          </p:nvSpPr>
          <p:spPr bwMode="auto">
            <a:xfrm>
              <a:off x="3699" y="1224"/>
              <a:ext cx="682" cy="1778"/>
            </a:xfrm>
            <a:custGeom>
              <a:avLst/>
              <a:gdLst>
                <a:gd name="T0" fmla="*/ 1222 w 465"/>
                <a:gd name="T1" fmla="*/ 3929 h 1196"/>
                <a:gd name="T2" fmla="*/ 263 w 465"/>
                <a:gd name="T3" fmla="*/ 3929 h 1196"/>
                <a:gd name="T4" fmla="*/ 0 w 465"/>
                <a:gd name="T5" fmla="*/ 0 h 1196"/>
                <a:gd name="T6" fmla="*/ 1467 w 465"/>
                <a:gd name="T7" fmla="*/ 0 h 1196"/>
                <a:gd name="T8" fmla="*/ 1222 w 465"/>
                <a:gd name="T9" fmla="*/ 3929 h 11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65"/>
                <a:gd name="T16" fmla="*/ 0 h 1196"/>
                <a:gd name="T17" fmla="*/ 465 w 465"/>
                <a:gd name="T18" fmla="*/ 1196 h 11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65" h="1196">
                  <a:moveTo>
                    <a:pt x="387" y="1196"/>
                  </a:moveTo>
                  <a:lnTo>
                    <a:pt x="83" y="1196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387" y="119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26" name="Group 119"/>
          <p:cNvGrpSpPr>
            <a:grpSpLocks/>
          </p:cNvGrpSpPr>
          <p:nvPr/>
        </p:nvGrpSpPr>
        <p:grpSpPr bwMode="auto">
          <a:xfrm>
            <a:off x="11823915" y="1770964"/>
            <a:ext cx="125412" cy="496888"/>
            <a:chOff x="3699" y="1224"/>
            <a:chExt cx="682" cy="2353"/>
          </a:xfrm>
          <a:solidFill>
            <a:srgbClr val="FF0000"/>
          </a:solidFill>
        </p:grpSpPr>
        <p:sp>
          <p:nvSpPr>
            <p:cNvPr id="27" name="Rectangle 120"/>
            <p:cNvSpPr>
              <a:spLocks noChangeArrowheads="1"/>
            </p:cNvSpPr>
            <p:nvPr/>
          </p:nvSpPr>
          <p:spPr bwMode="auto">
            <a:xfrm>
              <a:off x="3809" y="3119"/>
              <a:ext cx="464" cy="45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8" name="Freeform 121"/>
            <p:cNvSpPr>
              <a:spLocks/>
            </p:cNvSpPr>
            <p:nvPr/>
          </p:nvSpPr>
          <p:spPr bwMode="auto">
            <a:xfrm>
              <a:off x="3699" y="1224"/>
              <a:ext cx="682" cy="1778"/>
            </a:xfrm>
            <a:custGeom>
              <a:avLst/>
              <a:gdLst>
                <a:gd name="T0" fmla="*/ 1222 w 465"/>
                <a:gd name="T1" fmla="*/ 3929 h 1196"/>
                <a:gd name="T2" fmla="*/ 263 w 465"/>
                <a:gd name="T3" fmla="*/ 3929 h 1196"/>
                <a:gd name="T4" fmla="*/ 0 w 465"/>
                <a:gd name="T5" fmla="*/ 0 h 1196"/>
                <a:gd name="T6" fmla="*/ 1467 w 465"/>
                <a:gd name="T7" fmla="*/ 0 h 1196"/>
                <a:gd name="T8" fmla="*/ 1222 w 465"/>
                <a:gd name="T9" fmla="*/ 3929 h 11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65"/>
                <a:gd name="T16" fmla="*/ 0 h 1196"/>
                <a:gd name="T17" fmla="*/ 465 w 465"/>
                <a:gd name="T18" fmla="*/ 1196 h 11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65" h="1196">
                  <a:moveTo>
                    <a:pt x="387" y="1196"/>
                  </a:moveTo>
                  <a:lnTo>
                    <a:pt x="83" y="1196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387" y="119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5066271" y="6046573"/>
            <a:ext cx="332328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Проверить/Внести</a:t>
            </a:r>
          </a:p>
          <a:p>
            <a:r>
              <a:rPr lang="ru-RU" dirty="0" smtClean="0">
                <a:solidFill>
                  <a:srgbClr val="FF0000"/>
                </a:solidFill>
              </a:rPr>
              <a:t>номера СНИЛС </a:t>
            </a:r>
            <a:r>
              <a:rPr lang="ru-RU" dirty="0" err="1" smtClean="0">
                <a:solidFill>
                  <a:srgbClr val="FF0000"/>
                </a:solidFill>
              </a:rPr>
              <a:t>мед.работников</a:t>
            </a:r>
            <a:endParaRPr lang="ru-RU" dirty="0" smtClean="0">
              <a:solidFill>
                <a:srgbClr val="FF0000"/>
              </a:solidFill>
            </a:endParaRPr>
          </a:p>
          <a:p>
            <a:endParaRPr lang="ru-RU" dirty="0"/>
          </a:p>
        </p:txBody>
      </p:sp>
      <p:cxnSp>
        <p:nvCxnSpPr>
          <p:cNvPr id="19" name="Прямая со стрелкой 18"/>
          <p:cNvCxnSpPr/>
          <p:nvPr/>
        </p:nvCxnSpPr>
        <p:spPr>
          <a:xfrm flipV="1">
            <a:off x="6194854" y="5255741"/>
            <a:ext cx="140043" cy="91440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2" name="Скругленный прямоугольник 21"/>
          <p:cNvSpPr/>
          <p:nvPr/>
        </p:nvSpPr>
        <p:spPr>
          <a:xfrm>
            <a:off x="5964195" y="3113903"/>
            <a:ext cx="543697" cy="2520779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623670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81232" y="218128"/>
            <a:ext cx="103137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16477C"/>
                </a:solidFill>
                <a:latin typeface="AGOpus" pitchFamily="2" charset="0"/>
              </a:rPr>
              <a:t>Вкладка «Заявка п</a:t>
            </a:r>
            <a:r>
              <a:rPr lang="ru-RU" sz="2800" b="1" dirty="0" smtClean="0">
                <a:solidFill>
                  <a:srgbClr val="16477C"/>
                </a:solidFill>
                <a:latin typeface="AGOpus" pitchFamily="2" charset="0"/>
              </a:rPr>
              <a:t>..(проект)» </a:t>
            </a:r>
            <a:endParaRPr lang="ru-RU" sz="2800" b="1" dirty="0" smtClean="0">
              <a:solidFill>
                <a:srgbClr val="16477C"/>
              </a:solidFill>
              <a:latin typeface="AGOpus" pitchFamily="2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662614" y="2909540"/>
            <a:ext cx="3113903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18.09.2024 – Сформированы и размещены сведения и проекты заявок для 29 МО посредством </a:t>
            </a:r>
          </a:p>
          <a:p>
            <a:pPr algn="ctr"/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ЕИС ОМС ЭП.</a:t>
            </a:r>
          </a:p>
          <a:p>
            <a:pPr algn="ctr"/>
            <a:endParaRPr lang="ru-RU" sz="10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 19.09.2024 –  23.09.2024 проверка предоставленных  от МО подтвержденных сведений  и заполненных заявок на стимулирующие выплаты медицинским работникам за выявление онкологических заболеваний в ходе диспансеризации и проф.осмотров</a:t>
            </a:r>
            <a:endParaRPr lang="ru-RU" sz="105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algn="ctr"/>
            <a:endParaRPr lang="en-US" sz="14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4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D813F-403D-4D48-BD60-BAAB60DBE3F5}" type="slidenum">
              <a:rPr lang="ru-RU" smtClean="0"/>
              <a:pPr/>
              <a:t>6</a:t>
            </a:fld>
            <a:endParaRPr lang="ru-RU"/>
          </a:p>
        </p:txBody>
      </p:sp>
      <p:pic>
        <p:nvPicPr>
          <p:cNvPr id="21" name="Рисунок 20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98572" y="1351005"/>
            <a:ext cx="6063050" cy="5180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Овал 21"/>
          <p:cNvSpPr/>
          <p:nvPr/>
        </p:nvSpPr>
        <p:spPr>
          <a:xfrm>
            <a:off x="5379308" y="1293340"/>
            <a:ext cx="518985" cy="17299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/>
          <p:cNvSpPr/>
          <p:nvPr/>
        </p:nvSpPr>
        <p:spPr>
          <a:xfrm>
            <a:off x="3711145" y="6310183"/>
            <a:ext cx="597244" cy="24713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4" name="Прямая со стрелкой 23"/>
          <p:cNvCxnSpPr/>
          <p:nvPr/>
        </p:nvCxnSpPr>
        <p:spPr>
          <a:xfrm flipH="1" flipV="1">
            <a:off x="4308389" y="6516131"/>
            <a:ext cx="939114" cy="140042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5090984" y="6340387"/>
            <a:ext cx="11286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Заявка п6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40044" y="2141838"/>
            <a:ext cx="2875005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FF0000"/>
                </a:solidFill>
              </a:rPr>
              <a:t>Необходимо сверить предоставленные случаи с медицинской документацией</a:t>
            </a:r>
          </a:p>
          <a:p>
            <a:endParaRPr lang="ru-RU" sz="1400" dirty="0" smtClean="0">
              <a:solidFill>
                <a:srgbClr val="FF0000"/>
              </a:solidFill>
            </a:endParaRPr>
          </a:p>
          <a:p>
            <a:r>
              <a:rPr lang="ru-RU" sz="1600" b="1" dirty="0" smtClean="0">
                <a:solidFill>
                  <a:srgbClr val="FF0000"/>
                </a:solidFill>
              </a:rPr>
              <a:t>ПОДТВЕРЖДЕННЫЕ </a:t>
            </a:r>
            <a:r>
              <a:rPr lang="ru-RU" sz="1600" dirty="0" smtClean="0">
                <a:solidFill>
                  <a:srgbClr val="FF0000"/>
                </a:solidFill>
              </a:rPr>
              <a:t>случаи</a:t>
            </a:r>
            <a:r>
              <a:rPr lang="ru-RU" sz="1400" dirty="0" smtClean="0">
                <a:solidFill>
                  <a:srgbClr val="FF0000"/>
                </a:solidFill>
              </a:rPr>
              <a:t>, следует перенести на вкладку №3 «Заявка форма»</a:t>
            </a:r>
          </a:p>
          <a:p>
            <a:endParaRPr lang="ru-RU" sz="1400" dirty="0" smtClean="0">
              <a:solidFill>
                <a:srgbClr val="FF0000"/>
              </a:solidFill>
            </a:endParaRPr>
          </a:p>
          <a:p>
            <a:r>
              <a:rPr lang="ru-RU" sz="1600" b="1" dirty="0" smtClean="0">
                <a:solidFill>
                  <a:srgbClr val="FF0000"/>
                </a:solidFill>
              </a:rPr>
              <a:t>НЕ ПОДТВЕРЖДЕННЫЕ </a:t>
            </a:r>
            <a:r>
              <a:rPr lang="ru-RU" sz="1600" dirty="0" smtClean="0">
                <a:solidFill>
                  <a:srgbClr val="FF0000"/>
                </a:solidFill>
              </a:rPr>
              <a:t>случаи </a:t>
            </a:r>
          </a:p>
          <a:p>
            <a:r>
              <a:rPr lang="ru-RU" sz="1400" dirty="0" smtClean="0">
                <a:solidFill>
                  <a:srgbClr val="FF0000"/>
                </a:solidFill>
              </a:rPr>
              <a:t>необходимо обосновать в сопроводительном письме в ТФОМС</a:t>
            </a:r>
          </a:p>
          <a:p>
            <a:endParaRPr lang="ru-RU" sz="1400" dirty="0"/>
          </a:p>
        </p:txBody>
      </p:sp>
      <p:grpSp>
        <p:nvGrpSpPr>
          <p:cNvPr id="28" name="Group 119"/>
          <p:cNvGrpSpPr>
            <a:grpSpLocks/>
          </p:cNvGrpSpPr>
          <p:nvPr/>
        </p:nvGrpSpPr>
        <p:grpSpPr bwMode="auto">
          <a:xfrm>
            <a:off x="1032347" y="1457925"/>
            <a:ext cx="125412" cy="496888"/>
            <a:chOff x="3699" y="1224"/>
            <a:chExt cx="682" cy="2353"/>
          </a:xfrm>
          <a:solidFill>
            <a:srgbClr val="FF0000"/>
          </a:solidFill>
        </p:grpSpPr>
        <p:sp>
          <p:nvSpPr>
            <p:cNvPr id="29" name="Rectangle 120"/>
            <p:cNvSpPr>
              <a:spLocks noChangeArrowheads="1"/>
            </p:cNvSpPr>
            <p:nvPr/>
          </p:nvSpPr>
          <p:spPr bwMode="auto">
            <a:xfrm>
              <a:off x="3809" y="3119"/>
              <a:ext cx="464" cy="45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0" name="Freeform 121"/>
            <p:cNvSpPr>
              <a:spLocks/>
            </p:cNvSpPr>
            <p:nvPr/>
          </p:nvSpPr>
          <p:spPr bwMode="auto">
            <a:xfrm>
              <a:off x="3699" y="1224"/>
              <a:ext cx="682" cy="1778"/>
            </a:xfrm>
            <a:custGeom>
              <a:avLst/>
              <a:gdLst>
                <a:gd name="T0" fmla="*/ 1222 w 465"/>
                <a:gd name="T1" fmla="*/ 3929 h 1196"/>
                <a:gd name="T2" fmla="*/ 263 w 465"/>
                <a:gd name="T3" fmla="*/ 3929 h 1196"/>
                <a:gd name="T4" fmla="*/ 0 w 465"/>
                <a:gd name="T5" fmla="*/ 0 h 1196"/>
                <a:gd name="T6" fmla="*/ 1467 w 465"/>
                <a:gd name="T7" fmla="*/ 0 h 1196"/>
                <a:gd name="T8" fmla="*/ 1222 w 465"/>
                <a:gd name="T9" fmla="*/ 3929 h 11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65"/>
                <a:gd name="T16" fmla="*/ 0 h 1196"/>
                <a:gd name="T17" fmla="*/ 465 w 465"/>
                <a:gd name="T18" fmla="*/ 1196 h 11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65" h="1196">
                  <a:moveTo>
                    <a:pt x="387" y="1196"/>
                  </a:moveTo>
                  <a:lnTo>
                    <a:pt x="83" y="1196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387" y="119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cxnSp>
        <p:nvCxnSpPr>
          <p:cNvPr id="31" name="Прямая со стрелкой 30"/>
          <p:cNvCxnSpPr/>
          <p:nvPr/>
        </p:nvCxnSpPr>
        <p:spPr>
          <a:xfrm flipH="1" flipV="1">
            <a:off x="5890054" y="1458097"/>
            <a:ext cx="3558746" cy="1392196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9209903" y="2858530"/>
            <a:ext cx="264566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В «заявка (проект)»</a:t>
            </a:r>
          </a:p>
          <a:p>
            <a:r>
              <a:rPr lang="ru-RU" dirty="0" smtClean="0">
                <a:solidFill>
                  <a:srgbClr val="FF0000"/>
                </a:solidFill>
              </a:rPr>
              <a:t>Ничего менять </a:t>
            </a:r>
            <a:r>
              <a:rPr lang="ru-RU" b="1" dirty="0" smtClean="0">
                <a:solidFill>
                  <a:srgbClr val="FF0000"/>
                </a:solidFill>
              </a:rPr>
              <a:t>НЕ НАДО</a:t>
            </a:r>
            <a:r>
              <a:rPr lang="ru-RU" dirty="0" smtClean="0">
                <a:solidFill>
                  <a:srgbClr val="FF0000"/>
                </a:solidFill>
              </a:rPr>
              <a:t>!</a:t>
            </a:r>
            <a:endParaRPr lang="ru-RU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96498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1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D813F-403D-4D48-BD60-BAAB60DBE3F5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205946" y="331226"/>
            <a:ext cx="95229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>
                <a:solidFill>
                  <a:srgbClr val="16477C"/>
                </a:solidFill>
                <a:latin typeface="AGOpus" pitchFamily="2" charset="0"/>
              </a:rPr>
              <a:t>Вкладка «Заявка форма»</a:t>
            </a:r>
            <a:endParaRPr lang="en-US" sz="2800" b="1" dirty="0" smtClean="0">
              <a:solidFill>
                <a:srgbClr val="16477C"/>
              </a:solidFill>
              <a:latin typeface="AGOpus" pitchFamily="2" charset="0"/>
            </a:endParaRPr>
          </a:p>
        </p:txBody>
      </p:sp>
      <p:pic>
        <p:nvPicPr>
          <p:cNvPr id="16" name="Рисунок 15"/>
          <p:cNvPicPr/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603156" y="1433385"/>
            <a:ext cx="7364627" cy="5099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Овал 16"/>
          <p:cNvSpPr/>
          <p:nvPr/>
        </p:nvSpPr>
        <p:spPr>
          <a:xfrm>
            <a:off x="3925328" y="6301944"/>
            <a:ext cx="696098" cy="23066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8" name="Прямая со стрелкой 17"/>
          <p:cNvCxnSpPr/>
          <p:nvPr/>
        </p:nvCxnSpPr>
        <p:spPr>
          <a:xfrm flipH="1">
            <a:off x="4637903" y="6170141"/>
            <a:ext cx="691978" cy="164756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860856" y="3406346"/>
            <a:ext cx="160794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Обязательно к</a:t>
            </a:r>
          </a:p>
          <a:p>
            <a:r>
              <a:rPr lang="ru-RU" dirty="0" smtClean="0">
                <a:solidFill>
                  <a:srgbClr val="FF0000"/>
                </a:solidFill>
              </a:rPr>
              <a:t> заполнению</a:t>
            </a:r>
            <a:endParaRPr lang="ru-RU" dirty="0">
              <a:solidFill>
                <a:srgbClr val="FF0000"/>
              </a:solidFill>
            </a:endParaRPr>
          </a:p>
        </p:txBody>
      </p:sp>
      <p:grpSp>
        <p:nvGrpSpPr>
          <p:cNvPr id="28" name="Group 119"/>
          <p:cNvGrpSpPr>
            <a:grpSpLocks/>
          </p:cNvGrpSpPr>
          <p:nvPr/>
        </p:nvGrpSpPr>
        <p:grpSpPr bwMode="auto">
          <a:xfrm>
            <a:off x="2866768" y="2619631"/>
            <a:ext cx="152743" cy="496715"/>
            <a:chOff x="3699" y="1224"/>
            <a:chExt cx="682" cy="2353"/>
          </a:xfrm>
          <a:solidFill>
            <a:srgbClr val="FF0000"/>
          </a:solidFill>
        </p:grpSpPr>
        <p:sp>
          <p:nvSpPr>
            <p:cNvPr id="29" name="Rectangle 120"/>
            <p:cNvSpPr>
              <a:spLocks noChangeArrowheads="1"/>
            </p:cNvSpPr>
            <p:nvPr/>
          </p:nvSpPr>
          <p:spPr bwMode="auto">
            <a:xfrm>
              <a:off x="3809" y="3119"/>
              <a:ext cx="464" cy="45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0" name="Freeform 121"/>
            <p:cNvSpPr>
              <a:spLocks/>
            </p:cNvSpPr>
            <p:nvPr/>
          </p:nvSpPr>
          <p:spPr bwMode="auto">
            <a:xfrm>
              <a:off x="3699" y="1224"/>
              <a:ext cx="682" cy="1778"/>
            </a:xfrm>
            <a:custGeom>
              <a:avLst/>
              <a:gdLst>
                <a:gd name="T0" fmla="*/ 1222 w 465"/>
                <a:gd name="T1" fmla="*/ 3929 h 1196"/>
                <a:gd name="T2" fmla="*/ 263 w 465"/>
                <a:gd name="T3" fmla="*/ 3929 h 1196"/>
                <a:gd name="T4" fmla="*/ 0 w 465"/>
                <a:gd name="T5" fmla="*/ 0 h 1196"/>
                <a:gd name="T6" fmla="*/ 1467 w 465"/>
                <a:gd name="T7" fmla="*/ 0 h 1196"/>
                <a:gd name="T8" fmla="*/ 1222 w 465"/>
                <a:gd name="T9" fmla="*/ 3929 h 11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65"/>
                <a:gd name="T16" fmla="*/ 0 h 1196"/>
                <a:gd name="T17" fmla="*/ 465 w 465"/>
                <a:gd name="T18" fmla="*/ 1196 h 11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65" h="1196">
                  <a:moveTo>
                    <a:pt x="387" y="1196"/>
                  </a:moveTo>
                  <a:lnTo>
                    <a:pt x="83" y="1196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387" y="119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5346356" y="5951426"/>
            <a:ext cx="16393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Заявка форма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48" name="Freeform 417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9618205" y="2158314"/>
            <a:ext cx="786184" cy="766119"/>
          </a:xfrm>
          <a:custGeom>
            <a:avLst/>
            <a:gdLst>
              <a:gd name="T0" fmla="*/ 0 w 648"/>
              <a:gd name="T1" fmla="*/ 5 h 618"/>
              <a:gd name="T2" fmla="*/ 1 w 648"/>
              <a:gd name="T3" fmla="*/ 4 h 618"/>
              <a:gd name="T4" fmla="*/ 2 w 648"/>
              <a:gd name="T5" fmla="*/ 4 h 618"/>
              <a:gd name="T6" fmla="*/ 3 w 648"/>
              <a:gd name="T7" fmla="*/ 6 h 618"/>
              <a:gd name="T8" fmla="*/ 4 w 648"/>
              <a:gd name="T9" fmla="*/ 4 h 618"/>
              <a:gd name="T10" fmla="*/ 6 w 648"/>
              <a:gd name="T11" fmla="*/ 2 h 618"/>
              <a:gd name="T12" fmla="*/ 8 w 648"/>
              <a:gd name="T13" fmla="*/ 1 h 618"/>
              <a:gd name="T14" fmla="*/ 9 w 648"/>
              <a:gd name="T15" fmla="*/ 0 h 618"/>
              <a:gd name="T16" fmla="*/ 10 w 648"/>
              <a:gd name="T17" fmla="*/ 0 h 618"/>
              <a:gd name="T18" fmla="*/ 8 w 648"/>
              <a:gd name="T19" fmla="*/ 1 h 618"/>
              <a:gd name="T20" fmla="*/ 7 w 648"/>
              <a:gd name="T21" fmla="*/ 3 h 618"/>
              <a:gd name="T22" fmla="*/ 5 w 648"/>
              <a:gd name="T23" fmla="*/ 5 h 618"/>
              <a:gd name="T24" fmla="*/ 3 w 648"/>
              <a:gd name="T25" fmla="*/ 7 h 618"/>
              <a:gd name="T26" fmla="*/ 2 w 648"/>
              <a:gd name="T27" fmla="*/ 8 h 618"/>
              <a:gd name="T28" fmla="*/ 1 w 648"/>
              <a:gd name="T29" fmla="*/ 6 h 618"/>
              <a:gd name="T30" fmla="*/ 0 w 648"/>
              <a:gd name="T31" fmla="*/ 5 h 618"/>
              <a:gd name="T32" fmla="*/ 0 w 648"/>
              <a:gd name="T33" fmla="*/ 5 h 61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648"/>
              <a:gd name="T52" fmla="*/ 0 h 618"/>
              <a:gd name="T53" fmla="*/ 648 w 648"/>
              <a:gd name="T54" fmla="*/ 618 h 61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FF0000"/>
          </a:solidFill>
          <a:ln w="9525" cap="flat" cmpd="sng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49" name="Freeform 417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165287" y="3402226"/>
            <a:ext cx="724399" cy="547818"/>
          </a:xfrm>
          <a:custGeom>
            <a:avLst/>
            <a:gdLst>
              <a:gd name="T0" fmla="*/ 0 w 648"/>
              <a:gd name="T1" fmla="*/ 5 h 618"/>
              <a:gd name="T2" fmla="*/ 1 w 648"/>
              <a:gd name="T3" fmla="*/ 4 h 618"/>
              <a:gd name="T4" fmla="*/ 2 w 648"/>
              <a:gd name="T5" fmla="*/ 4 h 618"/>
              <a:gd name="T6" fmla="*/ 3 w 648"/>
              <a:gd name="T7" fmla="*/ 6 h 618"/>
              <a:gd name="T8" fmla="*/ 4 w 648"/>
              <a:gd name="T9" fmla="*/ 4 h 618"/>
              <a:gd name="T10" fmla="*/ 6 w 648"/>
              <a:gd name="T11" fmla="*/ 2 h 618"/>
              <a:gd name="T12" fmla="*/ 8 w 648"/>
              <a:gd name="T13" fmla="*/ 1 h 618"/>
              <a:gd name="T14" fmla="*/ 9 w 648"/>
              <a:gd name="T15" fmla="*/ 0 h 618"/>
              <a:gd name="T16" fmla="*/ 10 w 648"/>
              <a:gd name="T17" fmla="*/ 0 h 618"/>
              <a:gd name="T18" fmla="*/ 8 w 648"/>
              <a:gd name="T19" fmla="*/ 1 h 618"/>
              <a:gd name="T20" fmla="*/ 7 w 648"/>
              <a:gd name="T21" fmla="*/ 3 h 618"/>
              <a:gd name="T22" fmla="*/ 5 w 648"/>
              <a:gd name="T23" fmla="*/ 5 h 618"/>
              <a:gd name="T24" fmla="*/ 3 w 648"/>
              <a:gd name="T25" fmla="*/ 7 h 618"/>
              <a:gd name="T26" fmla="*/ 2 w 648"/>
              <a:gd name="T27" fmla="*/ 8 h 618"/>
              <a:gd name="T28" fmla="*/ 1 w 648"/>
              <a:gd name="T29" fmla="*/ 6 h 618"/>
              <a:gd name="T30" fmla="*/ 0 w 648"/>
              <a:gd name="T31" fmla="*/ 5 h 618"/>
              <a:gd name="T32" fmla="*/ 0 w 648"/>
              <a:gd name="T33" fmla="*/ 5 h 61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648"/>
              <a:gd name="T52" fmla="*/ 0 h 618"/>
              <a:gd name="T53" fmla="*/ 648 w 648"/>
              <a:gd name="T54" fmla="*/ 618 h 61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FF0000"/>
          </a:solidFill>
          <a:ln w="9525" cap="flat" cmpd="sng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50" name="Freeform 417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945556" y="5344641"/>
            <a:ext cx="316627" cy="314754"/>
          </a:xfrm>
          <a:custGeom>
            <a:avLst/>
            <a:gdLst>
              <a:gd name="T0" fmla="*/ 0 w 648"/>
              <a:gd name="T1" fmla="*/ 5 h 618"/>
              <a:gd name="T2" fmla="*/ 1 w 648"/>
              <a:gd name="T3" fmla="*/ 4 h 618"/>
              <a:gd name="T4" fmla="*/ 2 w 648"/>
              <a:gd name="T5" fmla="*/ 4 h 618"/>
              <a:gd name="T6" fmla="*/ 3 w 648"/>
              <a:gd name="T7" fmla="*/ 6 h 618"/>
              <a:gd name="T8" fmla="*/ 4 w 648"/>
              <a:gd name="T9" fmla="*/ 4 h 618"/>
              <a:gd name="T10" fmla="*/ 6 w 648"/>
              <a:gd name="T11" fmla="*/ 2 h 618"/>
              <a:gd name="T12" fmla="*/ 8 w 648"/>
              <a:gd name="T13" fmla="*/ 1 h 618"/>
              <a:gd name="T14" fmla="*/ 9 w 648"/>
              <a:gd name="T15" fmla="*/ 0 h 618"/>
              <a:gd name="T16" fmla="*/ 10 w 648"/>
              <a:gd name="T17" fmla="*/ 0 h 618"/>
              <a:gd name="T18" fmla="*/ 8 w 648"/>
              <a:gd name="T19" fmla="*/ 1 h 618"/>
              <a:gd name="T20" fmla="*/ 7 w 648"/>
              <a:gd name="T21" fmla="*/ 3 h 618"/>
              <a:gd name="T22" fmla="*/ 5 w 648"/>
              <a:gd name="T23" fmla="*/ 5 h 618"/>
              <a:gd name="T24" fmla="*/ 3 w 648"/>
              <a:gd name="T25" fmla="*/ 7 h 618"/>
              <a:gd name="T26" fmla="*/ 2 w 648"/>
              <a:gd name="T27" fmla="*/ 8 h 618"/>
              <a:gd name="T28" fmla="*/ 1 w 648"/>
              <a:gd name="T29" fmla="*/ 6 h 618"/>
              <a:gd name="T30" fmla="*/ 0 w 648"/>
              <a:gd name="T31" fmla="*/ 5 h 618"/>
              <a:gd name="T32" fmla="*/ 0 w 648"/>
              <a:gd name="T33" fmla="*/ 5 h 61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648"/>
              <a:gd name="T52" fmla="*/ 0 h 618"/>
              <a:gd name="T53" fmla="*/ 648 w 648"/>
              <a:gd name="T54" fmla="*/ 618 h 61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FF0000"/>
          </a:solidFill>
          <a:ln w="9525" cap="flat" cmpd="sng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51" name="Freeform 41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6409567" y="4978058"/>
            <a:ext cx="316627" cy="314754"/>
          </a:xfrm>
          <a:custGeom>
            <a:avLst/>
            <a:gdLst>
              <a:gd name="T0" fmla="*/ 0 w 648"/>
              <a:gd name="T1" fmla="*/ 5 h 618"/>
              <a:gd name="T2" fmla="*/ 1 w 648"/>
              <a:gd name="T3" fmla="*/ 4 h 618"/>
              <a:gd name="T4" fmla="*/ 2 w 648"/>
              <a:gd name="T5" fmla="*/ 4 h 618"/>
              <a:gd name="T6" fmla="*/ 3 w 648"/>
              <a:gd name="T7" fmla="*/ 6 h 618"/>
              <a:gd name="T8" fmla="*/ 4 w 648"/>
              <a:gd name="T9" fmla="*/ 4 h 618"/>
              <a:gd name="T10" fmla="*/ 6 w 648"/>
              <a:gd name="T11" fmla="*/ 2 h 618"/>
              <a:gd name="T12" fmla="*/ 8 w 648"/>
              <a:gd name="T13" fmla="*/ 1 h 618"/>
              <a:gd name="T14" fmla="*/ 9 w 648"/>
              <a:gd name="T15" fmla="*/ 0 h 618"/>
              <a:gd name="T16" fmla="*/ 10 w 648"/>
              <a:gd name="T17" fmla="*/ 0 h 618"/>
              <a:gd name="T18" fmla="*/ 8 w 648"/>
              <a:gd name="T19" fmla="*/ 1 h 618"/>
              <a:gd name="T20" fmla="*/ 7 w 648"/>
              <a:gd name="T21" fmla="*/ 3 h 618"/>
              <a:gd name="T22" fmla="*/ 5 w 648"/>
              <a:gd name="T23" fmla="*/ 5 h 618"/>
              <a:gd name="T24" fmla="*/ 3 w 648"/>
              <a:gd name="T25" fmla="*/ 7 h 618"/>
              <a:gd name="T26" fmla="*/ 2 w 648"/>
              <a:gd name="T27" fmla="*/ 8 h 618"/>
              <a:gd name="T28" fmla="*/ 1 w 648"/>
              <a:gd name="T29" fmla="*/ 6 h 618"/>
              <a:gd name="T30" fmla="*/ 0 w 648"/>
              <a:gd name="T31" fmla="*/ 5 h 618"/>
              <a:gd name="T32" fmla="*/ 0 w 648"/>
              <a:gd name="T33" fmla="*/ 5 h 61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648"/>
              <a:gd name="T52" fmla="*/ 0 h 618"/>
              <a:gd name="T53" fmla="*/ 648 w 648"/>
              <a:gd name="T54" fmla="*/ 618 h 61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FF0000"/>
          </a:solidFill>
          <a:ln w="9525" cap="flat" cmpd="sng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52" name="Freeform 417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4304800" y="4982177"/>
            <a:ext cx="316627" cy="314754"/>
          </a:xfrm>
          <a:custGeom>
            <a:avLst/>
            <a:gdLst>
              <a:gd name="T0" fmla="*/ 0 w 648"/>
              <a:gd name="T1" fmla="*/ 5 h 618"/>
              <a:gd name="T2" fmla="*/ 1 w 648"/>
              <a:gd name="T3" fmla="*/ 4 h 618"/>
              <a:gd name="T4" fmla="*/ 2 w 648"/>
              <a:gd name="T5" fmla="*/ 4 h 618"/>
              <a:gd name="T6" fmla="*/ 3 w 648"/>
              <a:gd name="T7" fmla="*/ 6 h 618"/>
              <a:gd name="T8" fmla="*/ 4 w 648"/>
              <a:gd name="T9" fmla="*/ 4 h 618"/>
              <a:gd name="T10" fmla="*/ 6 w 648"/>
              <a:gd name="T11" fmla="*/ 2 h 618"/>
              <a:gd name="T12" fmla="*/ 8 w 648"/>
              <a:gd name="T13" fmla="*/ 1 h 618"/>
              <a:gd name="T14" fmla="*/ 9 w 648"/>
              <a:gd name="T15" fmla="*/ 0 h 618"/>
              <a:gd name="T16" fmla="*/ 10 w 648"/>
              <a:gd name="T17" fmla="*/ 0 h 618"/>
              <a:gd name="T18" fmla="*/ 8 w 648"/>
              <a:gd name="T19" fmla="*/ 1 h 618"/>
              <a:gd name="T20" fmla="*/ 7 w 648"/>
              <a:gd name="T21" fmla="*/ 3 h 618"/>
              <a:gd name="T22" fmla="*/ 5 w 648"/>
              <a:gd name="T23" fmla="*/ 5 h 618"/>
              <a:gd name="T24" fmla="*/ 3 w 648"/>
              <a:gd name="T25" fmla="*/ 7 h 618"/>
              <a:gd name="T26" fmla="*/ 2 w 648"/>
              <a:gd name="T27" fmla="*/ 8 h 618"/>
              <a:gd name="T28" fmla="*/ 1 w 648"/>
              <a:gd name="T29" fmla="*/ 6 h 618"/>
              <a:gd name="T30" fmla="*/ 0 w 648"/>
              <a:gd name="T31" fmla="*/ 5 h 618"/>
              <a:gd name="T32" fmla="*/ 0 w 648"/>
              <a:gd name="T33" fmla="*/ 5 h 61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648"/>
              <a:gd name="T52" fmla="*/ 0 h 618"/>
              <a:gd name="T53" fmla="*/ 648 w 648"/>
              <a:gd name="T54" fmla="*/ 618 h 61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FF0000"/>
          </a:solidFill>
          <a:ln w="9525" cap="flat" cmpd="sng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53" name="Freeform 417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5709351" y="4640306"/>
            <a:ext cx="316627" cy="314754"/>
          </a:xfrm>
          <a:custGeom>
            <a:avLst/>
            <a:gdLst>
              <a:gd name="T0" fmla="*/ 0 w 648"/>
              <a:gd name="T1" fmla="*/ 5 h 618"/>
              <a:gd name="T2" fmla="*/ 1 w 648"/>
              <a:gd name="T3" fmla="*/ 4 h 618"/>
              <a:gd name="T4" fmla="*/ 2 w 648"/>
              <a:gd name="T5" fmla="*/ 4 h 618"/>
              <a:gd name="T6" fmla="*/ 3 w 648"/>
              <a:gd name="T7" fmla="*/ 6 h 618"/>
              <a:gd name="T8" fmla="*/ 4 w 648"/>
              <a:gd name="T9" fmla="*/ 4 h 618"/>
              <a:gd name="T10" fmla="*/ 6 w 648"/>
              <a:gd name="T11" fmla="*/ 2 h 618"/>
              <a:gd name="T12" fmla="*/ 8 w 648"/>
              <a:gd name="T13" fmla="*/ 1 h 618"/>
              <a:gd name="T14" fmla="*/ 9 w 648"/>
              <a:gd name="T15" fmla="*/ 0 h 618"/>
              <a:gd name="T16" fmla="*/ 10 w 648"/>
              <a:gd name="T17" fmla="*/ 0 h 618"/>
              <a:gd name="T18" fmla="*/ 8 w 648"/>
              <a:gd name="T19" fmla="*/ 1 h 618"/>
              <a:gd name="T20" fmla="*/ 7 w 648"/>
              <a:gd name="T21" fmla="*/ 3 h 618"/>
              <a:gd name="T22" fmla="*/ 5 w 648"/>
              <a:gd name="T23" fmla="*/ 5 h 618"/>
              <a:gd name="T24" fmla="*/ 3 w 648"/>
              <a:gd name="T25" fmla="*/ 7 h 618"/>
              <a:gd name="T26" fmla="*/ 2 w 648"/>
              <a:gd name="T27" fmla="*/ 8 h 618"/>
              <a:gd name="T28" fmla="*/ 1 w 648"/>
              <a:gd name="T29" fmla="*/ 6 h 618"/>
              <a:gd name="T30" fmla="*/ 0 w 648"/>
              <a:gd name="T31" fmla="*/ 5 h 618"/>
              <a:gd name="T32" fmla="*/ 0 w 648"/>
              <a:gd name="T33" fmla="*/ 5 h 61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648"/>
              <a:gd name="T52" fmla="*/ 0 h 618"/>
              <a:gd name="T53" fmla="*/ 648 w 648"/>
              <a:gd name="T54" fmla="*/ 618 h 61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FF0000"/>
          </a:solidFill>
          <a:ln w="9525" cap="flat" cmpd="sng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54" name="Freeform 417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906162" y="2766198"/>
            <a:ext cx="316627" cy="314754"/>
          </a:xfrm>
          <a:custGeom>
            <a:avLst/>
            <a:gdLst>
              <a:gd name="T0" fmla="*/ 0 w 648"/>
              <a:gd name="T1" fmla="*/ 5 h 618"/>
              <a:gd name="T2" fmla="*/ 1 w 648"/>
              <a:gd name="T3" fmla="*/ 4 h 618"/>
              <a:gd name="T4" fmla="*/ 2 w 648"/>
              <a:gd name="T5" fmla="*/ 4 h 618"/>
              <a:gd name="T6" fmla="*/ 3 w 648"/>
              <a:gd name="T7" fmla="*/ 6 h 618"/>
              <a:gd name="T8" fmla="*/ 4 w 648"/>
              <a:gd name="T9" fmla="*/ 4 h 618"/>
              <a:gd name="T10" fmla="*/ 6 w 648"/>
              <a:gd name="T11" fmla="*/ 2 h 618"/>
              <a:gd name="T12" fmla="*/ 8 w 648"/>
              <a:gd name="T13" fmla="*/ 1 h 618"/>
              <a:gd name="T14" fmla="*/ 9 w 648"/>
              <a:gd name="T15" fmla="*/ 0 h 618"/>
              <a:gd name="T16" fmla="*/ 10 w 648"/>
              <a:gd name="T17" fmla="*/ 0 h 618"/>
              <a:gd name="T18" fmla="*/ 8 w 648"/>
              <a:gd name="T19" fmla="*/ 1 h 618"/>
              <a:gd name="T20" fmla="*/ 7 w 648"/>
              <a:gd name="T21" fmla="*/ 3 h 618"/>
              <a:gd name="T22" fmla="*/ 5 w 648"/>
              <a:gd name="T23" fmla="*/ 5 h 618"/>
              <a:gd name="T24" fmla="*/ 3 w 648"/>
              <a:gd name="T25" fmla="*/ 7 h 618"/>
              <a:gd name="T26" fmla="*/ 2 w 648"/>
              <a:gd name="T27" fmla="*/ 8 h 618"/>
              <a:gd name="T28" fmla="*/ 1 w 648"/>
              <a:gd name="T29" fmla="*/ 6 h 618"/>
              <a:gd name="T30" fmla="*/ 0 w 648"/>
              <a:gd name="T31" fmla="*/ 5 h 618"/>
              <a:gd name="T32" fmla="*/ 0 w 648"/>
              <a:gd name="T33" fmla="*/ 5 h 61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648"/>
              <a:gd name="T52" fmla="*/ 0 h 618"/>
              <a:gd name="T53" fmla="*/ 648 w 648"/>
              <a:gd name="T54" fmla="*/ 618 h 61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FF0000"/>
          </a:solidFill>
          <a:ln w="9525" cap="flat" cmpd="sng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55" name="Freeform 417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4341870" y="2399613"/>
            <a:ext cx="316627" cy="314754"/>
          </a:xfrm>
          <a:custGeom>
            <a:avLst/>
            <a:gdLst>
              <a:gd name="T0" fmla="*/ 0 w 648"/>
              <a:gd name="T1" fmla="*/ 5 h 618"/>
              <a:gd name="T2" fmla="*/ 1 w 648"/>
              <a:gd name="T3" fmla="*/ 4 h 618"/>
              <a:gd name="T4" fmla="*/ 2 w 648"/>
              <a:gd name="T5" fmla="*/ 4 h 618"/>
              <a:gd name="T6" fmla="*/ 3 w 648"/>
              <a:gd name="T7" fmla="*/ 6 h 618"/>
              <a:gd name="T8" fmla="*/ 4 w 648"/>
              <a:gd name="T9" fmla="*/ 4 h 618"/>
              <a:gd name="T10" fmla="*/ 6 w 648"/>
              <a:gd name="T11" fmla="*/ 2 h 618"/>
              <a:gd name="T12" fmla="*/ 8 w 648"/>
              <a:gd name="T13" fmla="*/ 1 h 618"/>
              <a:gd name="T14" fmla="*/ 9 w 648"/>
              <a:gd name="T15" fmla="*/ 0 h 618"/>
              <a:gd name="T16" fmla="*/ 10 w 648"/>
              <a:gd name="T17" fmla="*/ 0 h 618"/>
              <a:gd name="T18" fmla="*/ 8 w 648"/>
              <a:gd name="T19" fmla="*/ 1 h 618"/>
              <a:gd name="T20" fmla="*/ 7 w 648"/>
              <a:gd name="T21" fmla="*/ 3 h 618"/>
              <a:gd name="T22" fmla="*/ 5 w 648"/>
              <a:gd name="T23" fmla="*/ 5 h 618"/>
              <a:gd name="T24" fmla="*/ 3 w 648"/>
              <a:gd name="T25" fmla="*/ 7 h 618"/>
              <a:gd name="T26" fmla="*/ 2 w 648"/>
              <a:gd name="T27" fmla="*/ 8 h 618"/>
              <a:gd name="T28" fmla="*/ 1 w 648"/>
              <a:gd name="T29" fmla="*/ 6 h 618"/>
              <a:gd name="T30" fmla="*/ 0 w 648"/>
              <a:gd name="T31" fmla="*/ 5 h 618"/>
              <a:gd name="T32" fmla="*/ 0 w 648"/>
              <a:gd name="T33" fmla="*/ 5 h 61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648"/>
              <a:gd name="T52" fmla="*/ 0 h 618"/>
              <a:gd name="T53" fmla="*/ 648 w 648"/>
              <a:gd name="T54" fmla="*/ 618 h 61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FF0000"/>
          </a:solidFill>
          <a:ln w="9525" cap="flat" cmpd="sng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56" name="Freeform 417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5631091" y="1588187"/>
            <a:ext cx="316627" cy="314754"/>
          </a:xfrm>
          <a:custGeom>
            <a:avLst/>
            <a:gdLst>
              <a:gd name="T0" fmla="*/ 0 w 648"/>
              <a:gd name="T1" fmla="*/ 5 h 618"/>
              <a:gd name="T2" fmla="*/ 1 w 648"/>
              <a:gd name="T3" fmla="*/ 4 h 618"/>
              <a:gd name="T4" fmla="*/ 2 w 648"/>
              <a:gd name="T5" fmla="*/ 4 h 618"/>
              <a:gd name="T6" fmla="*/ 3 w 648"/>
              <a:gd name="T7" fmla="*/ 6 h 618"/>
              <a:gd name="T8" fmla="*/ 4 w 648"/>
              <a:gd name="T9" fmla="*/ 4 h 618"/>
              <a:gd name="T10" fmla="*/ 6 w 648"/>
              <a:gd name="T11" fmla="*/ 2 h 618"/>
              <a:gd name="T12" fmla="*/ 8 w 648"/>
              <a:gd name="T13" fmla="*/ 1 h 618"/>
              <a:gd name="T14" fmla="*/ 9 w 648"/>
              <a:gd name="T15" fmla="*/ 0 h 618"/>
              <a:gd name="T16" fmla="*/ 10 w 648"/>
              <a:gd name="T17" fmla="*/ 0 h 618"/>
              <a:gd name="T18" fmla="*/ 8 w 648"/>
              <a:gd name="T19" fmla="*/ 1 h 618"/>
              <a:gd name="T20" fmla="*/ 7 w 648"/>
              <a:gd name="T21" fmla="*/ 3 h 618"/>
              <a:gd name="T22" fmla="*/ 5 w 648"/>
              <a:gd name="T23" fmla="*/ 5 h 618"/>
              <a:gd name="T24" fmla="*/ 3 w 648"/>
              <a:gd name="T25" fmla="*/ 7 h 618"/>
              <a:gd name="T26" fmla="*/ 2 w 648"/>
              <a:gd name="T27" fmla="*/ 8 h 618"/>
              <a:gd name="T28" fmla="*/ 1 w 648"/>
              <a:gd name="T29" fmla="*/ 6 h 618"/>
              <a:gd name="T30" fmla="*/ 0 w 648"/>
              <a:gd name="T31" fmla="*/ 5 h 618"/>
              <a:gd name="T32" fmla="*/ 0 w 648"/>
              <a:gd name="T33" fmla="*/ 5 h 61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648"/>
              <a:gd name="T52" fmla="*/ 0 h 618"/>
              <a:gd name="T53" fmla="*/ 648 w 648"/>
              <a:gd name="T54" fmla="*/ 618 h 61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FF0000"/>
          </a:solidFill>
          <a:ln w="9525" cap="flat" cmpd="sng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anchor="ctr"/>
          <a:lstStyle/>
          <a:p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96498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D813F-403D-4D48-BD60-BAAB60DBE3F5}" type="slidenum">
              <a:rPr lang="ru-RU" smtClean="0"/>
              <a:pPr/>
              <a:t>8</a:t>
            </a:fld>
            <a:endParaRPr lang="ru-RU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3529" y="2099717"/>
            <a:ext cx="10219757" cy="35688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Скругленный прямоугольник 5"/>
          <p:cNvSpPr/>
          <p:nvPr/>
        </p:nvSpPr>
        <p:spPr>
          <a:xfrm>
            <a:off x="5222789" y="2759676"/>
            <a:ext cx="1285103" cy="420129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420131" y="2866767"/>
            <a:ext cx="461318" cy="34599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242884" y="1438977"/>
            <a:ext cx="106145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0" algn="l"/>
              </a:tabLst>
            </a:pPr>
            <a:r>
              <a:rPr lang="ru-RU" sz="1600" dirty="0" smtClean="0">
                <a:solidFill>
                  <a:srgbClr val="16477C"/>
                </a:solidFill>
                <a:latin typeface="AGOpus" pitchFamily="2" charset="0"/>
              </a:rPr>
              <a:t>Файл с корректно заполненными сведениями и заполненной вкладкой «</a:t>
            </a:r>
            <a:r>
              <a:rPr lang="ru-RU" sz="1600" b="1" dirty="0" smtClean="0">
                <a:solidFill>
                  <a:srgbClr val="16477C"/>
                </a:solidFill>
                <a:latin typeface="AGOpus" pitchFamily="2" charset="0"/>
              </a:rPr>
              <a:t>Заявка форма</a:t>
            </a:r>
            <a:r>
              <a:rPr lang="ru-RU" sz="1600" dirty="0" smtClean="0">
                <a:solidFill>
                  <a:srgbClr val="16477C"/>
                </a:solidFill>
                <a:latin typeface="AGOpus" pitchFamily="2" charset="0"/>
              </a:rPr>
              <a:t>» необходимо направить в ТФОМС по средствам сервиса ЕИС ОМС.ЭП, выбрав тип документа «</a:t>
            </a:r>
            <a:r>
              <a:rPr lang="ru-RU" sz="1600" b="1" dirty="0" smtClean="0">
                <a:solidFill>
                  <a:srgbClr val="16477C"/>
                </a:solidFill>
                <a:latin typeface="AGOpus" pitchFamily="2" charset="0"/>
              </a:rPr>
              <a:t>Стимулирующие выплаты 142н</a:t>
            </a:r>
            <a:r>
              <a:rPr lang="ru-RU" sz="1600" dirty="0" smtClean="0">
                <a:solidFill>
                  <a:srgbClr val="16477C"/>
                </a:solidFill>
                <a:latin typeface="AGOpus" pitchFamily="2" charset="0"/>
              </a:rPr>
              <a:t>».</a:t>
            </a:r>
          </a:p>
        </p:txBody>
      </p:sp>
      <p:grpSp>
        <p:nvGrpSpPr>
          <p:cNvPr id="16" name="Group 119"/>
          <p:cNvGrpSpPr>
            <a:grpSpLocks/>
          </p:cNvGrpSpPr>
          <p:nvPr/>
        </p:nvGrpSpPr>
        <p:grpSpPr bwMode="auto">
          <a:xfrm>
            <a:off x="4937083" y="2701839"/>
            <a:ext cx="125412" cy="496888"/>
            <a:chOff x="3699" y="1224"/>
            <a:chExt cx="682" cy="2353"/>
          </a:xfrm>
          <a:solidFill>
            <a:srgbClr val="FF0000"/>
          </a:solidFill>
        </p:grpSpPr>
        <p:sp>
          <p:nvSpPr>
            <p:cNvPr id="17" name="Rectangle 120"/>
            <p:cNvSpPr>
              <a:spLocks noChangeArrowheads="1"/>
            </p:cNvSpPr>
            <p:nvPr/>
          </p:nvSpPr>
          <p:spPr bwMode="auto">
            <a:xfrm>
              <a:off x="3809" y="3119"/>
              <a:ext cx="464" cy="45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" name="Freeform 121"/>
            <p:cNvSpPr>
              <a:spLocks/>
            </p:cNvSpPr>
            <p:nvPr/>
          </p:nvSpPr>
          <p:spPr bwMode="auto">
            <a:xfrm>
              <a:off x="3699" y="1224"/>
              <a:ext cx="682" cy="1778"/>
            </a:xfrm>
            <a:custGeom>
              <a:avLst/>
              <a:gdLst>
                <a:gd name="T0" fmla="*/ 1222 w 465"/>
                <a:gd name="T1" fmla="*/ 3929 h 1196"/>
                <a:gd name="T2" fmla="*/ 263 w 465"/>
                <a:gd name="T3" fmla="*/ 3929 h 1196"/>
                <a:gd name="T4" fmla="*/ 0 w 465"/>
                <a:gd name="T5" fmla="*/ 0 h 1196"/>
                <a:gd name="T6" fmla="*/ 1467 w 465"/>
                <a:gd name="T7" fmla="*/ 0 h 1196"/>
                <a:gd name="T8" fmla="*/ 1222 w 465"/>
                <a:gd name="T9" fmla="*/ 3929 h 11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65"/>
                <a:gd name="T16" fmla="*/ 0 h 1196"/>
                <a:gd name="T17" fmla="*/ 465 w 465"/>
                <a:gd name="T18" fmla="*/ 1196 h 11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65" h="1196">
                  <a:moveTo>
                    <a:pt x="387" y="1196"/>
                  </a:moveTo>
                  <a:lnTo>
                    <a:pt x="83" y="1196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387" y="119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9" name="Скругленный прямоугольник 18"/>
          <p:cNvSpPr/>
          <p:nvPr/>
        </p:nvSpPr>
        <p:spPr>
          <a:xfrm>
            <a:off x="8900986" y="3274540"/>
            <a:ext cx="399534" cy="308919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0" name="Прямая со стрелкой 19"/>
          <p:cNvCxnSpPr/>
          <p:nvPr/>
        </p:nvCxnSpPr>
        <p:spPr>
          <a:xfrm flipH="1">
            <a:off x="9251094" y="2957384"/>
            <a:ext cx="436603" cy="288324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9562038" y="2603156"/>
            <a:ext cx="25228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Кнопа:</a:t>
            </a:r>
          </a:p>
          <a:p>
            <a:r>
              <a:rPr lang="ru-RU" dirty="0" smtClean="0">
                <a:solidFill>
                  <a:srgbClr val="FF0000"/>
                </a:solidFill>
              </a:rPr>
              <a:t>«Загрузить документ» 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97708" y="214184"/>
            <a:ext cx="637847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>
                <a:solidFill>
                  <a:srgbClr val="16477C"/>
                </a:solidFill>
                <a:latin typeface="AGOpus" pitchFamily="2" charset="0"/>
              </a:rPr>
              <a:t>Отправка документов в ТФОМС</a:t>
            </a:r>
            <a:endParaRPr lang="ru-RU" sz="2000" b="1" dirty="0" smtClean="0">
              <a:solidFill>
                <a:srgbClr val="FF0000"/>
              </a:solidFill>
              <a:latin typeface="AGOpus" pitchFamily="2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51438" y="4253081"/>
            <a:ext cx="5299633" cy="1906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7" name="Прямая со стрелкой 36"/>
          <p:cNvCxnSpPr/>
          <p:nvPr/>
        </p:nvCxnSpPr>
        <p:spPr>
          <a:xfrm flipH="1">
            <a:off x="7545860" y="3645244"/>
            <a:ext cx="1272747" cy="1075038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1" name="Скругленный прямоугольник 40"/>
          <p:cNvSpPr/>
          <p:nvPr/>
        </p:nvSpPr>
        <p:spPr>
          <a:xfrm>
            <a:off x="5379307" y="5090983"/>
            <a:ext cx="2487828" cy="197708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5399900" y="5404021"/>
            <a:ext cx="2483709" cy="247136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2842053" y="4473146"/>
            <a:ext cx="914401" cy="271848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4" name="Прямая со стрелкой 43"/>
          <p:cNvCxnSpPr/>
          <p:nvPr/>
        </p:nvCxnSpPr>
        <p:spPr>
          <a:xfrm flipH="1" flipV="1">
            <a:off x="7884065" y="5240173"/>
            <a:ext cx="617384" cy="114422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5" name="Прямая со стрелкой 44"/>
          <p:cNvCxnSpPr/>
          <p:nvPr/>
        </p:nvCxnSpPr>
        <p:spPr>
          <a:xfrm>
            <a:off x="2594919" y="4217773"/>
            <a:ext cx="267465" cy="266709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6" name="Прямая со стрелкой 45"/>
          <p:cNvCxnSpPr/>
          <p:nvPr/>
        </p:nvCxnSpPr>
        <p:spPr>
          <a:xfrm flipV="1">
            <a:off x="5609967" y="5684108"/>
            <a:ext cx="123568" cy="659027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5058032" y="6260757"/>
            <a:ext cx="28789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Получатель ВСЕГДА </a:t>
            </a:r>
            <a:r>
              <a:rPr lang="ru-RU" b="1" dirty="0" smtClean="0">
                <a:solidFill>
                  <a:srgbClr val="FF0000"/>
                </a:solidFill>
              </a:rPr>
              <a:t>ТФОМС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078401" y="3841628"/>
            <a:ext cx="381489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загрузить файл с расширением </a:t>
            </a:r>
            <a:r>
              <a:rPr lang="en-US" sz="2000" b="1" dirty="0" smtClean="0">
                <a:solidFill>
                  <a:srgbClr val="FF0000"/>
                </a:solidFill>
              </a:rPr>
              <a:t>XLSX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8451536" y="5173362"/>
            <a:ext cx="34933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Тип документа:</a:t>
            </a:r>
          </a:p>
          <a:p>
            <a:r>
              <a:rPr lang="ru-RU" dirty="0" smtClean="0">
                <a:solidFill>
                  <a:srgbClr val="FF0000"/>
                </a:solidFill>
              </a:rPr>
              <a:t>«Стимулирующие выплаты 142Н»</a:t>
            </a:r>
            <a:endParaRPr lang="ru-RU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88507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D813F-403D-4D48-BD60-BAAB60DBE3F5}" type="slidenum">
              <a:rPr lang="ru-RU" smtClean="0"/>
              <a:pPr/>
              <a:t>9</a:t>
            </a:fld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205946" y="158232"/>
            <a:ext cx="952294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>
                <a:solidFill>
                  <a:srgbClr val="16477C"/>
                </a:solidFill>
                <a:latin typeface="AGOpus" pitchFamily="2" charset="0"/>
              </a:rPr>
              <a:t>Согласование и подписание загруженного документа в ЕИС ОМС.ЭП со стороны МО</a:t>
            </a:r>
            <a:endParaRPr lang="en-US" sz="2800" b="1" dirty="0" smtClean="0">
              <a:solidFill>
                <a:srgbClr val="16477C"/>
              </a:solidFill>
              <a:latin typeface="AGOpus" pitchFamily="2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0043" y="1456890"/>
            <a:ext cx="8846270" cy="3288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Скругленный прямоугольник 10"/>
          <p:cNvSpPr/>
          <p:nvPr/>
        </p:nvSpPr>
        <p:spPr>
          <a:xfrm>
            <a:off x="7834182" y="2512541"/>
            <a:ext cx="296563" cy="354227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3" name="Прямая со стрелкой 12"/>
          <p:cNvCxnSpPr/>
          <p:nvPr/>
        </p:nvCxnSpPr>
        <p:spPr>
          <a:xfrm flipV="1">
            <a:off x="7191632" y="2899719"/>
            <a:ext cx="724930" cy="229012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" name="Скругленный прямоугольник 8"/>
          <p:cNvSpPr/>
          <p:nvPr/>
        </p:nvSpPr>
        <p:spPr>
          <a:xfrm>
            <a:off x="4242486" y="3155091"/>
            <a:ext cx="1696995" cy="255373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8134864" y="2504301"/>
            <a:ext cx="292445" cy="354229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2" name="Прямая со стрелкой 11"/>
          <p:cNvCxnSpPr/>
          <p:nvPr/>
        </p:nvCxnSpPr>
        <p:spPr>
          <a:xfrm flipH="1" flipV="1">
            <a:off x="8262551" y="2940908"/>
            <a:ext cx="90618" cy="1046206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8114270" y="2174790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1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768280" y="216655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2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620378" y="4003739"/>
            <a:ext cx="165763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1 этап:</a:t>
            </a:r>
          </a:p>
          <a:p>
            <a:r>
              <a:rPr lang="ru-RU" dirty="0" smtClean="0">
                <a:solidFill>
                  <a:srgbClr val="FF0000"/>
                </a:solidFill>
              </a:rPr>
              <a:t>Нажать кнопку</a:t>
            </a:r>
          </a:p>
          <a:p>
            <a:r>
              <a:rPr lang="ru-RU" dirty="0" smtClean="0">
                <a:solidFill>
                  <a:srgbClr val="FF0000"/>
                </a:solidFill>
              </a:rPr>
              <a:t>«Согласовать»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637657" y="5175026"/>
            <a:ext cx="169309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2 этап:</a:t>
            </a:r>
          </a:p>
          <a:p>
            <a:r>
              <a:rPr lang="ru-RU" dirty="0" smtClean="0">
                <a:solidFill>
                  <a:srgbClr val="FF0000"/>
                </a:solidFill>
              </a:rPr>
              <a:t>Нажать кнопку </a:t>
            </a:r>
          </a:p>
          <a:p>
            <a:r>
              <a:rPr lang="ru-RU" dirty="0" smtClean="0">
                <a:solidFill>
                  <a:srgbClr val="FF0000"/>
                </a:solidFill>
              </a:rPr>
              <a:t>«Подписать» 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9424086" y="1959015"/>
            <a:ext cx="227364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0" algn="l"/>
              </a:tabLst>
            </a:pPr>
            <a:r>
              <a:rPr lang="ru-RU" sz="2000" dirty="0" smtClean="0">
                <a:solidFill>
                  <a:srgbClr val="16477C"/>
                </a:solidFill>
                <a:latin typeface="AGOpus" pitchFamily="2" charset="0"/>
              </a:rPr>
              <a:t>После подписания руководителем документ автоматически попадает в ТФОМС, </a:t>
            </a:r>
          </a:p>
          <a:p>
            <a:pPr>
              <a:tabLst>
                <a:tab pos="0" algn="l"/>
              </a:tabLst>
            </a:pPr>
            <a:r>
              <a:rPr lang="ru-RU" sz="2000" dirty="0" smtClean="0">
                <a:solidFill>
                  <a:srgbClr val="16477C"/>
                </a:solidFill>
                <a:latin typeface="AGOpus" pitchFamily="2" charset="0"/>
              </a:rPr>
              <a:t>а в МО его видно </a:t>
            </a:r>
          </a:p>
          <a:p>
            <a:pPr>
              <a:tabLst>
                <a:tab pos="0" algn="l"/>
              </a:tabLst>
            </a:pPr>
            <a:r>
              <a:rPr lang="ru-RU" sz="2000" dirty="0" smtClean="0">
                <a:solidFill>
                  <a:srgbClr val="16477C"/>
                </a:solidFill>
                <a:latin typeface="AGOpus" pitchFamily="2" charset="0"/>
              </a:rPr>
              <a:t>на вкладке «Подписанные»</a:t>
            </a: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24081" y="3665839"/>
            <a:ext cx="5544029" cy="289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Скругленный прямоугольник 31"/>
          <p:cNvSpPr/>
          <p:nvPr/>
        </p:nvSpPr>
        <p:spPr>
          <a:xfrm>
            <a:off x="4798538" y="5399902"/>
            <a:ext cx="424251" cy="354227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888507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_4_m49jgEy5gtFpDR91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_4_m49jgEy5gtFpDR91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_4_m49jgEy5gtFpDR91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_4_m49jgEy5gtFpDR91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_4_m49jgEy5gtFpDR91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_4_m49jgEy5gtFpDR91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_4_m49jgEy5gtFpDR91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_4_m49jgEy5gtFpDR91z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_4_m49jgEy5gtFpDR91z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256</TotalTime>
  <Words>385</Words>
  <Application>Microsoft Office PowerPoint</Application>
  <PresentationFormat>Произвольный</PresentationFormat>
  <Paragraphs>88</Paragraphs>
  <Slides>10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1" baseType="lpstr">
      <vt:lpstr>Тема Offic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Е.Резанова</dc:creator>
  <cp:lastModifiedBy>Анна Боганцева</cp:lastModifiedBy>
  <cp:revision>261</cp:revision>
  <cp:lastPrinted>2024-09-02T12:26:26Z</cp:lastPrinted>
  <dcterms:created xsi:type="dcterms:W3CDTF">2024-07-09T08:47:15Z</dcterms:created>
  <dcterms:modified xsi:type="dcterms:W3CDTF">2024-10-09T08:34:01Z</dcterms:modified>
</cp:coreProperties>
</file>